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  <p:sldId id="267" r:id="rId3"/>
    <p:sldId id="268" r:id="rId4"/>
    <p:sldId id="258" r:id="rId5"/>
    <p:sldId id="270" r:id="rId6"/>
    <p:sldId id="274" r:id="rId7"/>
    <p:sldId id="275" r:id="rId8"/>
    <p:sldId id="260" r:id="rId9"/>
    <p:sldId id="261" r:id="rId10"/>
    <p:sldId id="262" r:id="rId11"/>
    <p:sldId id="263" r:id="rId12"/>
    <p:sldId id="265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142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22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emf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28600"/>
            <a:ext cx="12192000" cy="11430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657600"/>
            <a:ext cx="8534400" cy="19812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67161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67646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7906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, Text and Pict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, Calibri Bold, 32 </a:t>
            </a:r>
            <a:r>
              <a:rPr lang="en-US" noProof="0" dirty="0" err="1" smtClean="0"/>
              <a:t>pt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82350" y="1629986"/>
            <a:ext cx="5505756" cy="1430520"/>
          </a:xfrm>
        </p:spPr>
        <p:txBody>
          <a:bodyPr wrap="square">
            <a:spAutoFit/>
          </a:bodyPr>
          <a:lstStyle>
            <a:lvl1pPr>
              <a:defRPr sz="1499" b="0">
                <a:solidFill>
                  <a:schemeClr val="tx1"/>
                </a:solidFill>
              </a:defRPr>
            </a:lvl1pPr>
            <a:lvl2pPr>
              <a:defRPr sz="1499"/>
            </a:lvl2pPr>
            <a:lvl3pPr>
              <a:defRPr sz="1499"/>
            </a:lvl3pPr>
            <a:lvl4pPr>
              <a:defRPr sz="1499"/>
            </a:lvl4pPr>
            <a:lvl5pPr>
              <a:defRPr sz="1499"/>
            </a:lvl5pPr>
          </a:lstStyle>
          <a:p>
            <a:pPr lvl="0"/>
            <a:r>
              <a:rPr lang="en-US" noProof="0" dirty="0" smtClean="0"/>
              <a:t>Subhead, Calibri, 20 </a:t>
            </a:r>
            <a:r>
              <a:rPr lang="en-US" noProof="0" dirty="0" err="1" smtClean="0"/>
              <a:t>pt</a:t>
            </a:r>
            <a:endParaRPr lang="en-US" noProof="0" dirty="0" smtClean="0"/>
          </a:p>
          <a:p>
            <a:pPr lvl="1"/>
            <a:r>
              <a:rPr lang="en-US" noProof="0" dirty="0" smtClean="0"/>
              <a:t>First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130908" y="1629987"/>
            <a:ext cx="5505757" cy="4677279"/>
          </a:xfrm>
        </p:spPr>
        <p:txBody>
          <a:bodyPr/>
          <a:lstStyle>
            <a:lvl1pPr>
              <a:defRPr sz="1499"/>
            </a:lvl1pPr>
          </a:lstStyle>
          <a:p>
            <a:r>
              <a:rPr lang="en-US" dirty="0" smtClean="0"/>
              <a:t>Image</a:t>
            </a:r>
            <a:endParaRPr lang="en-US" dirty="0"/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82350" y="6634559"/>
            <a:ext cx="5505757" cy="11541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750" dirty="0" smtClean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Footnote | Source | Disclaimer, Calibri , 1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7" name="Abgerundetes Rechteck 42"/>
          <p:cNvSpPr/>
          <p:nvPr userDrawn="1"/>
        </p:nvSpPr>
        <p:spPr>
          <a:xfrm>
            <a:off x="12642623" y="6102341"/>
            <a:ext cx="1864485" cy="634853"/>
          </a:xfrm>
          <a:prstGeom prst="roundRect">
            <a:avLst>
              <a:gd name="adj" fmla="val 0"/>
            </a:avLst>
          </a:prstGeom>
          <a:solidFill>
            <a:srgbClr val="A6A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26986" rIns="53972" bIns="53972" rtlCol="0" anchor="ctr"/>
          <a:lstStyle/>
          <a:p>
            <a:r>
              <a:rPr lang="en-US" sz="825" b="1" dirty="0">
                <a:solidFill>
                  <a:srgbClr val="2D1E1C"/>
                </a:solidFill>
              </a:rPr>
              <a:t>For changing images, please delete them and </a:t>
            </a:r>
            <a:r>
              <a:rPr lang="en-US" sz="825" b="1" dirty="0">
                <a:solidFill>
                  <a:prstClr val="white"/>
                </a:solidFill>
              </a:rPr>
              <a:t>insert a new one over click insert icon</a:t>
            </a:r>
            <a:endParaRPr lang="en-US" sz="825" dirty="0">
              <a:solidFill>
                <a:prstClr val="white"/>
              </a:solidFill>
            </a:endParaRPr>
          </a:p>
        </p:txBody>
      </p:sp>
      <p:grpSp>
        <p:nvGrpSpPr>
          <p:cNvPr id="12" name="Gruppieren 2"/>
          <p:cNvGrpSpPr/>
          <p:nvPr userDrawn="1"/>
        </p:nvGrpSpPr>
        <p:grpSpPr>
          <a:xfrm>
            <a:off x="12642623" y="2"/>
            <a:ext cx="1864485" cy="5980315"/>
            <a:chOff x="12649206" y="1"/>
            <a:chExt cx="1865457" cy="5981700"/>
          </a:xfrm>
        </p:grpSpPr>
        <p:sp>
          <p:nvSpPr>
            <p:cNvPr id="14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33279" lvl="1" indent="-133279">
                <a:spcBef>
                  <a:spcPts val="45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825" dirty="0">
                  <a:solidFill>
                    <a:prstClr val="white"/>
                  </a:solidFill>
                </a:rPr>
                <a:t>To ensure a clean and </a:t>
              </a:r>
              <a:br>
                <a:rPr lang="en-US" sz="825" dirty="0">
                  <a:solidFill>
                    <a:prstClr val="white"/>
                  </a:solidFill>
                </a:rPr>
              </a:br>
              <a:r>
                <a:rPr lang="en-US" sz="825" dirty="0">
                  <a:solidFill>
                    <a:prstClr val="white"/>
                  </a:solidFill>
                </a:rPr>
                <a:t>swift workflow with </a:t>
              </a:r>
              <a:r>
                <a:rPr lang="en-US" sz="825" b="1" dirty="0">
                  <a:solidFill>
                    <a:prstClr val="black"/>
                  </a:solidFill>
                </a:rPr>
                <a:t>bullet points</a:t>
              </a:r>
              <a:r>
                <a:rPr lang="en-US" sz="825" dirty="0">
                  <a:solidFill>
                    <a:prstClr val="white"/>
                  </a:solidFill>
                </a:rPr>
                <a:t>, please use the </a:t>
              </a:r>
              <a:br>
                <a:rPr lang="en-US" sz="825" dirty="0">
                  <a:solidFill>
                    <a:prstClr val="white"/>
                  </a:solidFill>
                </a:rPr>
              </a:br>
              <a:r>
                <a:rPr lang="en-US" sz="825" dirty="0">
                  <a:solidFill>
                    <a:prstClr val="white"/>
                  </a:solidFill>
                </a:rPr>
                <a:t>PRE-SET PLACEHOLDERS or FORMATTED TEXTBOXES</a:t>
              </a:r>
              <a:r>
                <a:rPr lang="en-US" sz="825" b="1" dirty="0">
                  <a:solidFill>
                    <a:prstClr val="white"/>
                  </a:solidFill>
                </a:rPr>
                <a:t>  </a:t>
              </a:r>
              <a:r>
                <a:rPr lang="en-US" sz="825" dirty="0">
                  <a:solidFill>
                    <a:prstClr val="white"/>
                  </a:solidFill>
                </a:rPr>
                <a:t>– do not use “normal” textboxes that have been added via the steps </a:t>
              </a:r>
              <a:br>
                <a:rPr lang="en-US" sz="825" dirty="0">
                  <a:solidFill>
                    <a:prstClr val="white"/>
                  </a:solidFill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 add  textbox. 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These textboxes cannot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33279" lvl="1" indent="-133279">
                <a:spcBef>
                  <a:spcPts val="45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825" b="1" dirty="0">
                  <a:solidFill>
                    <a:prstClr val="black"/>
                  </a:solidFill>
                  <a:sym typeface="Wingdings" panose="05000000000000000000" pitchFamily="2" charset="2"/>
                </a:rPr>
                <a:t>AUTOMATIC INDENTATIONS </a:t>
              </a: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IN PLACEHOLDERS are only 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the list level                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/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</a:rPr>
                <a:t>(or Shift + Alt + </a:t>
              </a: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</a:t>
              </a:r>
              <a:r>
                <a:rPr lang="en-US" sz="825" dirty="0">
                  <a:solidFill>
                    <a:prstClr val="white"/>
                  </a:solidFill>
                </a:rPr>
                <a:t> / </a:t>
              </a: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</a:t>
              </a:r>
              <a:r>
                <a:rPr lang="en-US" sz="825" dirty="0">
                  <a:solidFill>
                    <a:prstClr val="white"/>
                  </a:solidFill>
                </a:rPr>
                <a:t>)</a:t>
              </a:r>
            </a:p>
            <a:p>
              <a:pPr marL="133279" lvl="1" indent="-133279">
                <a:spcBef>
                  <a:spcPts val="45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825" b="1" dirty="0">
                  <a:solidFill>
                    <a:prstClr val="black"/>
                  </a:solidFill>
                </a:rPr>
                <a:t>Formatted textboxes/ placeholders </a:t>
              </a:r>
              <a:r>
                <a:rPr lang="en-US" sz="825" dirty="0">
                  <a:solidFill>
                    <a:prstClr val="white"/>
                  </a:solidFill>
                </a:rPr>
                <a:t>are available in the template – just make a copy OR: generate a new placeholder by following these steps </a:t>
              </a:r>
              <a:br>
                <a:rPr lang="en-US" sz="825" dirty="0">
                  <a:solidFill>
                    <a:prstClr val="white"/>
                  </a:solidFill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 Start  new slide</a:t>
              </a:r>
              <a:b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 choose layout </a:t>
              </a:r>
              <a:b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"Content Slide"</a:t>
              </a:r>
            </a:p>
            <a:p>
              <a:pPr marL="133279" lvl="1" indent="-133279">
                <a:spcBef>
                  <a:spcPts val="45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Placeholders can be</a:t>
              </a:r>
              <a:b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filled and then copied. </a:t>
              </a:r>
              <a:b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The copied placeholder will keep its formatting </a:t>
              </a:r>
              <a:endParaRPr lang="en-US" sz="825" dirty="0">
                <a:solidFill>
                  <a:prstClr val="white"/>
                </a:solidFill>
              </a:endParaRPr>
            </a:p>
          </p:txBody>
        </p:sp>
        <p:grpSp>
          <p:nvGrpSpPr>
            <p:cNvPr id="15" name="Gruppieren 11"/>
            <p:cNvGrpSpPr/>
            <p:nvPr userDrawn="1">
              <p:custDataLst>
                <p:tags r:id="rId2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16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750" dirty="0">
                  <a:solidFill>
                    <a:prstClr val="black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22" name="Picture 20"/>
              <p:cNvPicPr>
                <a:picLocks noChangeAspect="1" noChangeArrowheads="1"/>
              </p:cNvPicPr>
              <p:nvPr/>
            </p:nvPicPr>
            <p:blipFill rotWithShape="1"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32238746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duction/Table of conten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6" name="Rechteck 215"/>
          <p:cNvSpPr/>
          <p:nvPr userDrawn="1"/>
        </p:nvSpPr>
        <p:spPr>
          <a:xfrm>
            <a:off x="0" y="1"/>
            <a:ext cx="12192000" cy="6307265"/>
          </a:xfrm>
          <a:prstGeom prst="rect">
            <a:avLst/>
          </a:prstGeom>
          <a:solidFill>
            <a:srgbClr val="FDDD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49" dirty="0">
              <a:solidFill>
                <a:prstClr val="white"/>
              </a:solidFill>
            </a:endParaRP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7324" y="756946"/>
            <a:ext cx="5594609" cy="5557020"/>
          </a:xfrm>
          <a:prstGeom prst="rect">
            <a:avLst/>
          </a:prstGeom>
        </p:spPr>
      </p:pic>
      <p:sp>
        <p:nvSpPr>
          <p:cNvPr id="7" name="Textplatzhalter 6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82348" y="1628716"/>
            <a:ext cx="5648559" cy="1520416"/>
          </a:xfrm>
        </p:spPr>
        <p:txBody>
          <a:bodyPr>
            <a:spAutoFit/>
          </a:bodyPr>
          <a:lstStyle>
            <a:lvl1pPr marL="199918" indent="-199918"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4232795" algn="r"/>
              </a:tabLst>
              <a:defRPr b="0">
                <a:solidFill>
                  <a:schemeClr val="tx1"/>
                </a:solidFill>
              </a:defRPr>
            </a:lvl1pPr>
            <a:lvl3pPr>
              <a:tabLst>
                <a:tab pos="4232795" algn="r"/>
              </a:tabLst>
              <a:defRPr baseline="0"/>
            </a:lvl3pPr>
          </a:lstStyle>
          <a:p>
            <a:pPr lvl="0"/>
            <a:r>
              <a:rPr lang="en-US" dirty="0" smtClean="0"/>
              <a:t>Click to add chapter title, [Tab] 	page #</a:t>
            </a:r>
          </a:p>
          <a:p>
            <a:pPr lvl="2"/>
            <a:r>
              <a:rPr lang="en-US" dirty="0" smtClean="0"/>
              <a:t>Second level</a:t>
            </a:r>
          </a:p>
        </p:txBody>
      </p:sp>
      <p:grpSp>
        <p:nvGrpSpPr>
          <p:cNvPr id="4" name="Gruppieren 3"/>
          <p:cNvGrpSpPr/>
          <p:nvPr userDrawn="1"/>
        </p:nvGrpSpPr>
        <p:grpSpPr bwMode="gray">
          <a:xfrm>
            <a:off x="702" y="797"/>
            <a:ext cx="12191300" cy="1623593"/>
            <a:chOff x="701" y="796"/>
            <a:chExt cx="12197649" cy="1623969"/>
          </a:xfrm>
        </p:grpSpPr>
        <p:sp>
          <p:nvSpPr>
            <p:cNvPr id="249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49" dirty="0">
                <a:solidFill>
                  <a:srgbClr val="5F5656"/>
                </a:solidFill>
              </a:endParaRPr>
            </a:p>
          </p:txBody>
        </p:sp>
        <p:grpSp>
          <p:nvGrpSpPr>
            <p:cNvPr id="250" name="Gruppierung 140"/>
            <p:cNvGrpSpPr>
              <a:grpSpLocks noChangeAspect="1"/>
            </p:cNvGrpSpPr>
            <p:nvPr userDrawn="1"/>
          </p:nvGrpSpPr>
          <p:grpSpPr bwMode="gray">
            <a:xfrm>
              <a:off x="10291931" y="341313"/>
              <a:ext cx="1638132" cy="385201"/>
              <a:chOff x="6613648" y="2453653"/>
              <a:chExt cx="2815390" cy="662028"/>
            </a:xfrm>
          </p:grpSpPr>
          <p:sp>
            <p:nvSpPr>
              <p:cNvPr id="251" name="Freihandform 250"/>
              <p:cNvSpPr>
                <a:spLocks noChangeAspect="1" noChangeArrowheads="1"/>
              </p:cNvSpPr>
              <p:nvPr/>
            </p:nvSpPr>
            <p:spPr bwMode="gray">
              <a:xfrm>
                <a:off x="8944950" y="2560629"/>
                <a:ext cx="484088" cy="476289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defTabSz="816284">
                  <a:defRPr/>
                </a:pPr>
                <a:r>
                  <a:rPr lang="en-US" sz="1574" kern="0" dirty="0">
                    <a:solidFill>
                      <a:sysClr val="windowText" lastClr="000000"/>
                    </a:solidFill>
                  </a:rPr>
                  <a:t> </a:t>
                </a:r>
              </a:p>
            </p:txBody>
          </p:sp>
          <p:sp>
            <p:nvSpPr>
              <p:cNvPr id="252" name="Freihandform 251"/>
              <p:cNvSpPr>
                <a:spLocks noChangeAspect="1" noChangeArrowheads="1"/>
              </p:cNvSpPr>
              <p:nvPr/>
            </p:nvSpPr>
            <p:spPr bwMode="gray">
              <a:xfrm>
                <a:off x="7307072" y="2453653"/>
                <a:ext cx="1597948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solidFill>
                <a:srgbClr val="009999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defTabSz="816284">
                  <a:defRPr/>
                </a:pPr>
                <a:endParaRPr lang="en-US" sz="1574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53" name="Freihandform 252"/>
              <p:cNvSpPr>
                <a:spLocks noChangeAspect="1" noChangeArrowheads="1"/>
              </p:cNvSpPr>
              <p:nvPr/>
            </p:nvSpPr>
            <p:spPr bwMode="gray">
              <a:xfrm>
                <a:off x="6613648" y="2798826"/>
                <a:ext cx="2292197" cy="316855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defTabSz="816284">
                  <a:defRPr/>
                </a:pPr>
                <a:endParaRPr lang="en-US" sz="1574" kern="0" dirty="0">
                  <a:solidFill>
                    <a:sysClr val="windowText" lastClr="000000"/>
                  </a:solidFill>
                </a:endParaRPr>
              </a:p>
            </p:txBody>
          </p:sp>
        </p:grp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482349" y="216328"/>
            <a:ext cx="9139240" cy="49232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Introduction/Table of contents</a:t>
            </a:r>
            <a:r>
              <a:rPr lang="en-US" noProof="0" dirty="0" smtClean="0"/>
              <a:t>, Calibri Bold, 32 </a:t>
            </a:r>
            <a:r>
              <a:rPr lang="en-US" noProof="0" dirty="0" err="1" smtClean="0"/>
              <a:t>pt</a:t>
            </a:r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919636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, Calibri Bold, 32 </a:t>
            </a:r>
            <a:r>
              <a:rPr lang="en-US" noProof="0" dirty="0" err="1" smtClean="0"/>
              <a:t>pt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82350" y="1629985"/>
            <a:ext cx="11154316" cy="2307790"/>
          </a:xfrm>
        </p:spPr>
        <p:txBody>
          <a:bodyPr>
            <a:spAutoFit/>
          </a:bodyPr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smtClean="0"/>
              <a:t>Subhead, Calibri, 26 </a:t>
            </a:r>
            <a:r>
              <a:rPr lang="en-US" noProof="0" dirty="0" err="1" smtClean="0"/>
              <a:t>pt</a:t>
            </a:r>
            <a:endParaRPr lang="en-US" noProof="0" dirty="0" smtClean="0"/>
          </a:p>
          <a:p>
            <a:pPr lvl="1"/>
            <a:r>
              <a:rPr lang="en-US" noProof="0" dirty="0" smtClean="0"/>
              <a:t>First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82350" y="6542227"/>
            <a:ext cx="5505757" cy="207749"/>
          </a:xfrm>
        </p:spPr>
        <p:txBody>
          <a:bodyPr wrap="square" anchor="b">
            <a:spAutoFit/>
          </a:bodyPr>
          <a:lstStyle>
            <a:lvl1pPr>
              <a:defRPr sz="75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Footnote | Source | Disclaimer, Calibri , 1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grpSp>
        <p:nvGrpSpPr>
          <p:cNvPr id="3" name="Gruppieren 2"/>
          <p:cNvGrpSpPr/>
          <p:nvPr userDrawn="1"/>
        </p:nvGrpSpPr>
        <p:grpSpPr>
          <a:xfrm>
            <a:off x="12642623" y="2"/>
            <a:ext cx="1864485" cy="5980315"/>
            <a:chOff x="12649206" y="1"/>
            <a:chExt cx="1865457" cy="5981700"/>
          </a:xfrm>
        </p:grpSpPr>
        <p:sp>
          <p:nvSpPr>
            <p:cNvPr id="11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33279" lvl="1" indent="-133279">
                <a:spcBef>
                  <a:spcPts val="45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825" dirty="0">
                  <a:solidFill>
                    <a:prstClr val="white"/>
                  </a:solidFill>
                </a:rPr>
                <a:t>To ensure a clean and </a:t>
              </a:r>
              <a:br>
                <a:rPr lang="en-US" sz="825" dirty="0">
                  <a:solidFill>
                    <a:prstClr val="white"/>
                  </a:solidFill>
                </a:rPr>
              </a:br>
              <a:r>
                <a:rPr lang="en-US" sz="825" dirty="0">
                  <a:solidFill>
                    <a:prstClr val="white"/>
                  </a:solidFill>
                </a:rPr>
                <a:t>swift workflow with </a:t>
              </a:r>
              <a:r>
                <a:rPr lang="en-US" sz="825" b="1" dirty="0">
                  <a:solidFill>
                    <a:prstClr val="black"/>
                  </a:solidFill>
                </a:rPr>
                <a:t>bullet points</a:t>
              </a:r>
              <a:r>
                <a:rPr lang="en-US" sz="825" dirty="0">
                  <a:solidFill>
                    <a:prstClr val="white"/>
                  </a:solidFill>
                </a:rPr>
                <a:t>, please use the </a:t>
              </a:r>
              <a:br>
                <a:rPr lang="en-US" sz="825" dirty="0">
                  <a:solidFill>
                    <a:prstClr val="white"/>
                  </a:solidFill>
                </a:rPr>
              </a:br>
              <a:r>
                <a:rPr lang="en-US" sz="825" dirty="0">
                  <a:solidFill>
                    <a:prstClr val="white"/>
                  </a:solidFill>
                </a:rPr>
                <a:t>PRE-SET PLACEHOLDERS or FORMATTED TEXTBOXES</a:t>
              </a:r>
              <a:r>
                <a:rPr lang="en-US" sz="825" b="1" dirty="0">
                  <a:solidFill>
                    <a:prstClr val="white"/>
                  </a:solidFill>
                </a:rPr>
                <a:t>  </a:t>
              </a:r>
              <a:r>
                <a:rPr lang="en-US" sz="825" dirty="0">
                  <a:solidFill>
                    <a:prstClr val="white"/>
                  </a:solidFill>
                </a:rPr>
                <a:t>– do not use “normal” textboxes that have been added via the steps </a:t>
              </a:r>
              <a:br>
                <a:rPr lang="en-US" sz="825" dirty="0">
                  <a:solidFill>
                    <a:prstClr val="white"/>
                  </a:solidFill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 add  textbox. 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These textboxes cannot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33279" lvl="1" indent="-133279">
                <a:spcBef>
                  <a:spcPts val="45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825" b="1" dirty="0">
                  <a:solidFill>
                    <a:prstClr val="black"/>
                  </a:solidFill>
                  <a:sym typeface="Wingdings" panose="05000000000000000000" pitchFamily="2" charset="2"/>
                </a:rPr>
                <a:t>AUTOMATIC INDENTATIONS </a:t>
              </a: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IN PLACEHOLDERS are only 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the list level                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/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</a:rPr>
                <a:t>(or Shift + Alt + </a:t>
              </a: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</a:t>
              </a:r>
              <a:r>
                <a:rPr lang="en-US" sz="825" dirty="0">
                  <a:solidFill>
                    <a:prstClr val="white"/>
                  </a:solidFill>
                </a:rPr>
                <a:t> / </a:t>
              </a: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</a:t>
              </a:r>
              <a:r>
                <a:rPr lang="en-US" sz="825" dirty="0">
                  <a:solidFill>
                    <a:prstClr val="white"/>
                  </a:solidFill>
                </a:rPr>
                <a:t>)</a:t>
              </a:r>
            </a:p>
            <a:p>
              <a:pPr marL="133279" lvl="1" indent="-133279">
                <a:spcBef>
                  <a:spcPts val="45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825" b="1" dirty="0">
                  <a:solidFill>
                    <a:prstClr val="black"/>
                  </a:solidFill>
                </a:rPr>
                <a:t>Formatted textboxes/ placeholders </a:t>
              </a:r>
              <a:r>
                <a:rPr lang="en-US" sz="825" dirty="0">
                  <a:solidFill>
                    <a:prstClr val="white"/>
                  </a:solidFill>
                </a:rPr>
                <a:t>are available in the template – just make a copy OR: generate a new placeholder by following these steps </a:t>
              </a:r>
              <a:br>
                <a:rPr lang="en-US" sz="825" dirty="0">
                  <a:solidFill>
                    <a:prstClr val="white"/>
                  </a:solidFill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 Start  new slide</a:t>
              </a:r>
              <a:b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 choose layout </a:t>
              </a:r>
              <a:b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"Content Slide"</a:t>
              </a:r>
            </a:p>
            <a:p>
              <a:pPr marL="133279" lvl="1" indent="-133279">
                <a:spcBef>
                  <a:spcPts val="45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Placeholders can be</a:t>
              </a:r>
              <a:b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filled and then copied. </a:t>
              </a:r>
              <a:b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The copied placeholder will keep its formatting </a:t>
              </a:r>
              <a:endParaRPr lang="en-US" sz="825" dirty="0">
                <a:solidFill>
                  <a:prstClr val="white"/>
                </a:solidFill>
              </a:endParaRPr>
            </a:p>
          </p:txBody>
        </p:sp>
        <p:grpSp>
          <p:nvGrpSpPr>
            <p:cNvPr id="12" name="Gruppieren 11"/>
            <p:cNvGrpSpPr/>
            <p:nvPr userDrawn="1">
              <p:custDataLst>
                <p:tags r:id="rId2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14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750" dirty="0">
                  <a:solidFill>
                    <a:prstClr val="black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15" name="Picture 20"/>
              <p:cNvPicPr>
                <a:picLocks noChangeAspect="1" noChangeArrowheads="1"/>
              </p:cNvPicPr>
              <p:nvPr/>
            </p:nvPicPr>
            <p:blipFill rotWithShape="1"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10524436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88415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72440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20516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10113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77623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06529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2375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87700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274638"/>
            <a:ext cx="12192000" cy="1143000"/>
          </a:xfrm>
          <a:prstGeom prst="rect">
            <a:avLst/>
          </a:prstGeom>
          <a:solidFill>
            <a:schemeClr val="tx2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2709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bg1"/>
          </a:solidFill>
          <a:latin typeface="Garamond" panose="02020404030301010803" pitchFamily="18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Garamond" panose="02020404030301010803" pitchFamily="18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Garamond" panose="02020404030301010803" pitchFamily="18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Garamond" panose="02020404030301010803" pitchFamily="18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Garamond" panose="02020404030301010803" pitchFamily="18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Garamond" panose="02020404030301010803" pitchFamily="18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362200"/>
            <a:ext cx="12192000" cy="1143000"/>
          </a:xfrm>
        </p:spPr>
        <p:txBody>
          <a:bodyPr>
            <a:normAutofit/>
          </a:bodyPr>
          <a:lstStyle/>
          <a:p>
            <a:r>
              <a:rPr lang="en-US" dirty="0"/>
              <a:t>Managing </a:t>
            </a:r>
            <a:r>
              <a:rPr lang="en-US" dirty="0" smtClean="0"/>
              <a:t>HIV Tester Certification Dat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16071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 3. Tester Training Information 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t="14962" r="44046" b="6088"/>
          <a:stretch/>
        </p:blipFill>
        <p:spPr>
          <a:xfrm>
            <a:off x="1024360" y="1417638"/>
            <a:ext cx="10797439" cy="5440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3033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Tab 4. Tester Competency Assessment and Certification Information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l="-8826" t="14825" r="43795" b="6229"/>
          <a:stretch/>
        </p:blipFill>
        <p:spPr>
          <a:xfrm>
            <a:off x="-1037492" y="1417638"/>
            <a:ext cx="12625754" cy="5473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9257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What the different types of certification data?</a:t>
            </a:r>
            <a:endParaRPr lang="en-US" dirty="0"/>
          </a:p>
          <a:p>
            <a:r>
              <a:rPr lang="en-US" dirty="0" smtClean="0"/>
              <a:t>What are the key </a:t>
            </a:r>
            <a:r>
              <a:rPr lang="en-US" dirty="0"/>
              <a:t>elements of the certification data management </a:t>
            </a:r>
            <a:r>
              <a:rPr lang="en-US" dirty="0" smtClean="0"/>
              <a:t>process?</a:t>
            </a:r>
            <a:endParaRPr lang="en-US" dirty="0"/>
          </a:p>
          <a:p>
            <a:r>
              <a:rPr lang="en-US" dirty="0" smtClean="0"/>
              <a:t>What is the purpose </a:t>
            </a:r>
            <a:r>
              <a:rPr lang="en-US" dirty="0"/>
              <a:t>of the certification </a:t>
            </a:r>
            <a:r>
              <a:rPr lang="en-US" dirty="0" smtClean="0"/>
              <a:t>data management tool?</a:t>
            </a:r>
            <a:endParaRPr lang="en-US" dirty="0"/>
          </a:p>
          <a:p>
            <a:r>
              <a:rPr lang="en-US" dirty="0" smtClean="0"/>
              <a:t>What are the different </a:t>
            </a:r>
            <a:r>
              <a:rPr lang="en-US" dirty="0"/>
              <a:t>components of the certification </a:t>
            </a:r>
            <a:r>
              <a:rPr lang="en-US" dirty="0" smtClean="0"/>
              <a:t>data management tool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46566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arning Objectiv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890540"/>
          </a:xfrm>
        </p:spPr>
        <p:txBody>
          <a:bodyPr>
            <a:normAutofit lnSpcReduction="10000"/>
          </a:bodyPr>
          <a:lstStyle/>
          <a:p>
            <a:r>
              <a:rPr lang="en-US" sz="4000" dirty="0" smtClean="0"/>
              <a:t>At the end of the session, you will be able to:</a:t>
            </a:r>
          </a:p>
          <a:p>
            <a:pPr lvl="1"/>
            <a:r>
              <a:rPr lang="en-US" sz="3600" dirty="0"/>
              <a:t>Understand </a:t>
            </a:r>
            <a:r>
              <a:rPr lang="en-US" sz="3600" dirty="0" smtClean="0"/>
              <a:t>what constitute the certification data</a:t>
            </a:r>
          </a:p>
          <a:p>
            <a:pPr lvl="1"/>
            <a:r>
              <a:rPr lang="en-US" sz="3600" dirty="0" smtClean="0"/>
              <a:t>Describe what are the key elements of the </a:t>
            </a:r>
            <a:r>
              <a:rPr lang="en-US" sz="3600" dirty="0"/>
              <a:t>certification data </a:t>
            </a:r>
            <a:r>
              <a:rPr lang="en-US" sz="3600" dirty="0" smtClean="0"/>
              <a:t>management process</a:t>
            </a:r>
            <a:endParaRPr lang="en-US" sz="3600" dirty="0"/>
          </a:p>
          <a:p>
            <a:pPr lvl="1"/>
            <a:r>
              <a:rPr lang="en-US" sz="3600" dirty="0" smtClean="0"/>
              <a:t>Understand the purpose of the </a:t>
            </a:r>
            <a:r>
              <a:rPr lang="en-US" sz="3600" dirty="0"/>
              <a:t>certification </a:t>
            </a:r>
            <a:r>
              <a:rPr lang="en-US" sz="3600" dirty="0" smtClean="0"/>
              <a:t>data management tool</a:t>
            </a:r>
          </a:p>
          <a:p>
            <a:pPr lvl="1"/>
            <a:r>
              <a:rPr lang="en-US" sz="3600" dirty="0" smtClean="0"/>
              <a:t>Describe the different components of the certification data management tool</a:t>
            </a:r>
          </a:p>
        </p:txBody>
      </p:sp>
    </p:spTree>
    <p:extLst>
      <p:ext uri="{BB962C8B-B14F-4D97-AF65-F5344CB8AC3E}">
        <p14:creationId xmlns:p14="http://schemas.microsoft.com/office/powerpoint/2010/main" val="411441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dule Conten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4000" dirty="0" smtClean="0"/>
              <a:t>Different type of certification data</a:t>
            </a:r>
          </a:p>
          <a:p>
            <a:r>
              <a:rPr lang="en-US" sz="4000" dirty="0" smtClean="0"/>
              <a:t>Key </a:t>
            </a:r>
            <a:r>
              <a:rPr lang="en-US" sz="4000" dirty="0"/>
              <a:t>elements of the certification data management process</a:t>
            </a:r>
          </a:p>
          <a:p>
            <a:r>
              <a:rPr lang="en-US" sz="4000" dirty="0" smtClean="0"/>
              <a:t>Purpose </a:t>
            </a:r>
            <a:r>
              <a:rPr lang="en-US" sz="4000" dirty="0"/>
              <a:t>of the certification database</a:t>
            </a:r>
          </a:p>
          <a:p>
            <a:r>
              <a:rPr lang="en-US" sz="4000" dirty="0" smtClean="0"/>
              <a:t>Different component of the certification database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19763976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ype of Certification </a:t>
            </a:r>
            <a:r>
              <a:rPr lang="en-US" dirty="0" smtClean="0"/>
              <a:t>Data 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half" idx="1"/>
          </p:nvPr>
        </p:nvSpPr>
        <p:spPr>
          <a:xfrm>
            <a:off x="561703" y="1600200"/>
            <a:ext cx="5458097" cy="5105400"/>
          </a:xfrm>
        </p:spPr>
        <p:txBody>
          <a:bodyPr>
            <a:noAutofit/>
          </a:bodyPr>
          <a:lstStyle/>
          <a:p>
            <a:r>
              <a:rPr lang="en-US" dirty="0"/>
              <a:t>Provider information</a:t>
            </a:r>
          </a:p>
          <a:p>
            <a:pPr lvl="1"/>
            <a:r>
              <a:rPr lang="en-US" dirty="0"/>
              <a:t>Name</a:t>
            </a:r>
          </a:p>
          <a:p>
            <a:pPr lvl="1"/>
            <a:r>
              <a:rPr lang="en-US" dirty="0" smtClean="0"/>
              <a:t>Geographic location</a:t>
            </a:r>
          </a:p>
          <a:p>
            <a:pPr lvl="1"/>
            <a:r>
              <a:rPr lang="en-US" dirty="0"/>
              <a:t>Affiliation</a:t>
            </a:r>
          </a:p>
          <a:p>
            <a:pPr lvl="1"/>
            <a:r>
              <a:rPr lang="en-US" dirty="0" smtClean="0"/>
              <a:t>Contact</a:t>
            </a:r>
          </a:p>
          <a:p>
            <a:pPr lvl="1"/>
            <a:r>
              <a:rPr lang="en-US" dirty="0" smtClean="0"/>
              <a:t>Contact of person in charge</a:t>
            </a:r>
            <a:endParaRPr lang="en-US" dirty="0"/>
          </a:p>
          <a:p>
            <a:r>
              <a:rPr lang="en-US" dirty="0"/>
              <a:t>Training information</a:t>
            </a:r>
          </a:p>
          <a:p>
            <a:pPr lvl="1"/>
            <a:r>
              <a:rPr lang="en-US" dirty="0"/>
              <a:t>Type of training</a:t>
            </a:r>
          </a:p>
          <a:p>
            <a:pPr lvl="1"/>
            <a:r>
              <a:rPr lang="en-US" dirty="0"/>
              <a:t>Training organization</a:t>
            </a:r>
          </a:p>
          <a:p>
            <a:pPr lvl="1"/>
            <a:r>
              <a:rPr lang="en-US" dirty="0"/>
              <a:t>Trainer(s)</a:t>
            </a:r>
          </a:p>
          <a:p>
            <a:pPr lvl="1"/>
            <a:r>
              <a:rPr lang="en-US" dirty="0"/>
              <a:t>Training certificat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half" idx="2"/>
          </p:nvPr>
        </p:nvSpPr>
        <p:spPr>
          <a:xfrm>
            <a:off x="6407331" y="1600200"/>
            <a:ext cx="5610497" cy="4953000"/>
          </a:xfrm>
        </p:spPr>
        <p:txBody>
          <a:bodyPr>
            <a:noAutofit/>
          </a:bodyPr>
          <a:lstStyle/>
          <a:p>
            <a:r>
              <a:rPr lang="en-US" dirty="0"/>
              <a:t>Examination</a:t>
            </a:r>
          </a:p>
          <a:p>
            <a:pPr lvl="1"/>
            <a:r>
              <a:rPr lang="en-US" dirty="0"/>
              <a:t>Written exam</a:t>
            </a:r>
          </a:p>
          <a:p>
            <a:pPr lvl="1"/>
            <a:r>
              <a:rPr lang="en-US" dirty="0"/>
              <a:t>Practical exam</a:t>
            </a:r>
          </a:p>
          <a:p>
            <a:pPr lvl="1"/>
            <a:r>
              <a:rPr lang="en-US" dirty="0"/>
              <a:t>Examiner/Proctor</a:t>
            </a:r>
          </a:p>
          <a:p>
            <a:pPr lvl="1"/>
            <a:r>
              <a:rPr lang="en-US" dirty="0"/>
              <a:t>Number of </a:t>
            </a:r>
            <a:r>
              <a:rPr lang="en-US" dirty="0" smtClean="0"/>
              <a:t>attempts</a:t>
            </a:r>
          </a:p>
          <a:p>
            <a:r>
              <a:rPr lang="en-US" dirty="0" smtClean="0"/>
              <a:t>Certification</a:t>
            </a:r>
            <a:endParaRPr lang="en-US" dirty="0"/>
          </a:p>
          <a:p>
            <a:pPr lvl="1"/>
            <a:r>
              <a:rPr lang="en-US" dirty="0"/>
              <a:t>Type of certification </a:t>
            </a:r>
          </a:p>
          <a:p>
            <a:pPr lvl="1"/>
            <a:r>
              <a:rPr lang="en-US" dirty="0"/>
              <a:t>Certification Issuer</a:t>
            </a:r>
          </a:p>
          <a:p>
            <a:pPr lvl="1"/>
            <a:r>
              <a:rPr lang="en-US" dirty="0"/>
              <a:t>Date of issuance</a:t>
            </a:r>
          </a:p>
          <a:p>
            <a:pPr lvl="1"/>
            <a:r>
              <a:rPr lang="en-US" dirty="0"/>
              <a:t>Recertification reminder email</a:t>
            </a:r>
          </a:p>
          <a:p>
            <a:pPr lvl="1"/>
            <a:r>
              <a:rPr lang="en-US" dirty="0"/>
              <a:t>Recertification </a:t>
            </a:r>
            <a:r>
              <a:rPr lang="en-US" dirty="0" smtClean="0"/>
              <a:t>information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pPr lvl="1"/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29573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ey Data Management Area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12" y="1595111"/>
            <a:ext cx="5656288" cy="4965491"/>
          </a:xfrm>
        </p:spPr>
        <p:txBody>
          <a:bodyPr>
            <a:noAutofit/>
          </a:bodyPr>
          <a:lstStyle/>
          <a:p>
            <a:r>
              <a:rPr lang="en-US" sz="3200" dirty="0" smtClean="0"/>
              <a:t>Data collection/capture</a:t>
            </a:r>
          </a:p>
          <a:p>
            <a:pPr lvl="1"/>
            <a:r>
              <a:rPr lang="en-US" sz="2700" dirty="0" smtClean="0"/>
              <a:t>Registration sheet</a:t>
            </a:r>
          </a:p>
          <a:p>
            <a:pPr lvl="1"/>
            <a:r>
              <a:rPr lang="en-US" sz="2700" dirty="0" smtClean="0"/>
              <a:t>Written and practical examination documentation</a:t>
            </a:r>
          </a:p>
          <a:p>
            <a:pPr lvl="1"/>
            <a:r>
              <a:rPr lang="en-US" sz="2700" dirty="0" smtClean="0"/>
              <a:t>Database (Excel)</a:t>
            </a:r>
          </a:p>
          <a:p>
            <a:pPr marL="457200" lvl="1" indent="0">
              <a:buNone/>
            </a:pPr>
            <a:endParaRPr lang="en-US" sz="2700" dirty="0" smtClean="0"/>
          </a:p>
          <a:p>
            <a:r>
              <a:rPr lang="en-US" sz="3200" dirty="0" smtClean="0"/>
              <a:t>Data Quality</a:t>
            </a:r>
          </a:p>
          <a:p>
            <a:pPr lvl="1"/>
            <a:r>
              <a:rPr lang="en-US" sz="2700" dirty="0" smtClean="0"/>
              <a:t>Review</a:t>
            </a:r>
            <a:r>
              <a:rPr lang="en-US" sz="2700" dirty="0"/>
              <a:t>/Quality check</a:t>
            </a:r>
            <a:endParaRPr lang="en-US" sz="2700" dirty="0" smtClean="0"/>
          </a:p>
          <a:p>
            <a:pPr lvl="1"/>
            <a:r>
              <a:rPr lang="en-US" sz="2700" dirty="0" smtClean="0"/>
              <a:t>Double entries </a:t>
            </a:r>
          </a:p>
          <a:p>
            <a:pPr lvl="1"/>
            <a:r>
              <a:rPr lang="en-US" sz="2700" dirty="0" smtClean="0"/>
              <a:t>Validation</a:t>
            </a:r>
            <a:endParaRPr lang="en-US" sz="2700" dirty="0"/>
          </a:p>
          <a:p>
            <a:pPr lvl="1"/>
            <a:endParaRPr lang="en-US" sz="2700" dirty="0" smtClean="0"/>
          </a:p>
          <a:p>
            <a:pPr lvl="1"/>
            <a:endParaRPr lang="en-US" sz="320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35778" y="1595111"/>
            <a:ext cx="5756222" cy="4745728"/>
          </a:xfrm>
        </p:spPr>
        <p:txBody>
          <a:bodyPr>
            <a:noAutofit/>
          </a:bodyPr>
          <a:lstStyle/>
          <a:p>
            <a:r>
              <a:rPr lang="en-US" sz="3200" dirty="0"/>
              <a:t>Data </a:t>
            </a:r>
            <a:r>
              <a:rPr lang="en-US" sz="3200" dirty="0" smtClean="0"/>
              <a:t>Access</a:t>
            </a:r>
          </a:p>
          <a:p>
            <a:pPr lvl="1"/>
            <a:r>
              <a:rPr lang="en-US" dirty="0" smtClean="0"/>
              <a:t>National: MOH</a:t>
            </a:r>
          </a:p>
          <a:p>
            <a:pPr lvl="1"/>
            <a:r>
              <a:rPr lang="en-US" dirty="0" smtClean="0"/>
              <a:t>Council: Registrar, Data clerk/manager</a:t>
            </a:r>
          </a:p>
          <a:p>
            <a:pPr lvl="1"/>
            <a:r>
              <a:rPr lang="en-US" dirty="0" smtClean="0"/>
              <a:t>Mid-level: Evaluator, Proctor, data clerk</a:t>
            </a:r>
          </a:p>
          <a:p>
            <a:pPr lvl="1"/>
            <a:r>
              <a:rPr lang="en-US" dirty="0" smtClean="0"/>
              <a:t>Site: Tester  </a:t>
            </a:r>
          </a:p>
          <a:p>
            <a:r>
              <a:rPr lang="en-US" sz="3200" dirty="0" smtClean="0"/>
              <a:t>Data Security</a:t>
            </a:r>
          </a:p>
          <a:p>
            <a:pPr lvl="1"/>
            <a:r>
              <a:rPr lang="en-US" dirty="0" smtClean="0"/>
              <a:t>Transport </a:t>
            </a:r>
          </a:p>
          <a:p>
            <a:pPr lvl="1"/>
            <a:r>
              <a:rPr lang="en-US" dirty="0" smtClean="0"/>
              <a:t>Electronic transfer</a:t>
            </a:r>
          </a:p>
          <a:p>
            <a:pPr lvl="1"/>
            <a:r>
              <a:rPr lang="en-US" dirty="0" smtClean="0"/>
              <a:t>Storage / Archiving</a:t>
            </a:r>
          </a:p>
          <a:p>
            <a:pPr lvl="2"/>
            <a:r>
              <a:rPr lang="en-US" sz="2400" dirty="0" smtClean="0"/>
              <a:t>Physical </a:t>
            </a:r>
          </a:p>
          <a:p>
            <a:pPr lvl="2"/>
            <a:r>
              <a:rPr lang="en-US" sz="2400" dirty="0" smtClean="0"/>
              <a:t>Electronic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68104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aging the Certification </a:t>
            </a:r>
            <a:r>
              <a:rPr lang="en-US" dirty="0" smtClean="0"/>
              <a:t>Data</a:t>
            </a:r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92439" y="1410362"/>
            <a:ext cx="12007122" cy="5447638"/>
            <a:chOff x="2246767" y="1657701"/>
            <a:chExt cx="7698465" cy="4620755"/>
          </a:xfrm>
        </p:grpSpPr>
        <p:sp>
          <p:nvSpPr>
            <p:cNvPr id="6" name="Freeform 5"/>
            <p:cNvSpPr/>
            <p:nvPr/>
          </p:nvSpPr>
          <p:spPr>
            <a:xfrm>
              <a:off x="2246767" y="1657701"/>
              <a:ext cx="7698464" cy="1119572"/>
            </a:xfrm>
            <a:custGeom>
              <a:avLst/>
              <a:gdLst>
                <a:gd name="connsiteX0" fmla="*/ 0 w 7698464"/>
                <a:gd name="connsiteY0" fmla="*/ 279893 h 1119572"/>
                <a:gd name="connsiteX1" fmla="*/ 7138678 w 7698464"/>
                <a:gd name="connsiteY1" fmla="*/ 279893 h 1119572"/>
                <a:gd name="connsiteX2" fmla="*/ 7138678 w 7698464"/>
                <a:gd name="connsiteY2" fmla="*/ 0 h 1119572"/>
                <a:gd name="connsiteX3" fmla="*/ 7698464 w 7698464"/>
                <a:gd name="connsiteY3" fmla="*/ 559786 h 1119572"/>
                <a:gd name="connsiteX4" fmla="*/ 7138678 w 7698464"/>
                <a:gd name="connsiteY4" fmla="*/ 1119572 h 1119572"/>
                <a:gd name="connsiteX5" fmla="*/ 7138678 w 7698464"/>
                <a:gd name="connsiteY5" fmla="*/ 839679 h 1119572"/>
                <a:gd name="connsiteX6" fmla="*/ 0 w 7698464"/>
                <a:gd name="connsiteY6" fmla="*/ 839679 h 1119572"/>
                <a:gd name="connsiteX7" fmla="*/ 0 w 7698464"/>
                <a:gd name="connsiteY7" fmla="*/ 279893 h 1119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698464" h="1119572">
                  <a:moveTo>
                    <a:pt x="0" y="279893"/>
                  </a:moveTo>
                  <a:lnTo>
                    <a:pt x="7138678" y="279893"/>
                  </a:lnTo>
                  <a:lnTo>
                    <a:pt x="7138678" y="0"/>
                  </a:lnTo>
                  <a:lnTo>
                    <a:pt x="7698464" y="559786"/>
                  </a:lnTo>
                  <a:lnTo>
                    <a:pt x="7138678" y="1119572"/>
                  </a:lnTo>
                  <a:lnTo>
                    <a:pt x="7138678" y="839679"/>
                  </a:lnTo>
                  <a:lnTo>
                    <a:pt x="0" y="839679"/>
                  </a:lnTo>
                  <a:lnTo>
                    <a:pt x="0" y="2798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1920" tIns="401813" rIns="533893" bIns="457625" numCol="1" spcCol="1270" anchor="ctr" anchorCtr="0">
              <a:noAutofit/>
            </a:bodyPr>
            <a:lstStyle/>
            <a:p>
              <a:pPr lvl="0" algn="l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3200" kern="1200" dirty="0" smtClean="0"/>
                <a:t>1. Collect</a:t>
              </a:r>
              <a:endParaRPr lang="en-US" sz="3200" kern="1200" dirty="0"/>
            </a:p>
          </p:txBody>
        </p:sp>
        <p:sp>
          <p:nvSpPr>
            <p:cNvPr id="7" name="Freeform 6"/>
            <p:cNvSpPr/>
            <p:nvPr/>
          </p:nvSpPr>
          <p:spPr>
            <a:xfrm>
              <a:off x="2246767" y="2519608"/>
              <a:ext cx="1430102" cy="2379287"/>
            </a:xfrm>
            <a:custGeom>
              <a:avLst/>
              <a:gdLst>
                <a:gd name="connsiteX0" fmla="*/ 0 w 1422830"/>
                <a:gd name="connsiteY0" fmla="*/ 0 h 2055714"/>
                <a:gd name="connsiteX1" fmla="*/ 1422830 w 1422830"/>
                <a:gd name="connsiteY1" fmla="*/ 0 h 2055714"/>
                <a:gd name="connsiteX2" fmla="*/ 1422830 w 1422830"/>
                <a:gd name="connsiteY2" fmla="*/ 2055714 h 2055714"/>
                <a:gd name="connsiteX3" fmla="*/ 0 w 1422830"/>
                <a:gd name="connsiteY3" fmla="*/ 2055714 h 2055714"/>
                <a:gd name="connsiteX4" fmla="*/ 0 w 1422830"/>
                <a:gd name="connsiteY4" fmla="*/ 0 h 2055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2830" h="2055714">
                  <a:moveTo>
                    <a:pt x="0" y="0"/>
                  </a:moveTo>
                  <a:lnTo>
                    <a:pt x="1422830" y="0"/>
                  </a:lnTo>
                  <a:lnTo>
                    <a:pt x="1422830" y="2055714"/>
                  </a:lnTo>
                  <a:lnTo>
                    <a:pt x="0" y="2055714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8580" tIns="68580" rIns="68580" bIns="68580" numCol="1" spcCol="1270" anchor="t" anchorCtr="0">
              <a:noAutofit/>
            </a:bodyPr>
            <a:lstStyle/>
            <a:p>
              <a:pPr marL="165100" lvl="0" indent="-16510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sz="1800" kern="1200" dirty="0" smtClean="0"/>
                <a:t>Registration sheet, written examination sheet and practical examination result forms</a:t>
              </a:r>
            </a:p>
            <a:p>
              <a:pPr marL="165100" lvl="0" indent="-16510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sz="1800" kern="1200" dirty="0" smtClean="0"/>
                <a:t>Direct observation checklists</a:t>
              </a:r>
            </a:p>
            <a:p>
              <a:pPr marL="165100" lvl="0" indent="-16510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sz="1800" kern="1200" dirty="0" smtClean="0"/>
                <a:t>Written examination questions + answer key</a:t>
              </a:r>
              <a:endParaRPr lang="en-US" sz="1800" kern="1200" dirty="0"/>
            </a:p>
          </p:txBody>
        </p:sp>
        <p:sp>
          <p:nvSpPr>
            <p:cNvPr id="8" name="Freeform 7"/>
            <p:cNvSpPr/>
            <p:nvPr/>
          </p:nvSpPr>
          <p:spPr>
            <a:xfrm>
              <a:off x="3669443" y="2031035"/>
              <a:ext cx="6275788" cy="1119572"/>
            </a:xfrm>
            <a:custGeom>
              <a:avLst/>
              <a:gdLst>
                <a:gd name="connsiteX0" fmla="*/ 0 w 6275788"/>
                <a:gd name="connsiteY0" fmla="*/ 279893 h 1119572"/>
                <a:gd name="connsiteX1" fmla="*/ 5716002 w 6275788"/>
                <a:gd name="connsiteY1" fmla="*/ 279893 h 1119572"/>
                <a:gd name="connsiteX2" fmla="*/ 5716002 w 6275788"/>
                <a:gd name="connsiteY2" fmla="*/ 0 h 1119572"/>
                <a:gd name="connsiteX3" fmla="*/ 6275788 w 6275788"/>
                <a:gd name="connsiteY3" fmla="*/ 559786 h 1119572"/>
                <a:gd name="connsiteX4" fmla="*/ 5716002 w 6275788"/>
                <a:gd name="connsiteY4" fmla="*/ 1119572 h 1119572"/>
                <a:gd name="connsiteX5" fmla="*/ 5716002 w 6275788"/>
                <a:gd name="connsiteY5" fmla="*/ 839679 h 1119572"/>
                <a:gd name="connsiteX6" fmla="*/ 0 w 6275788"/>
                <a:gd name="connsiteY6" fmla="*/ 839679 h 1119572"/>
                <a:gd name="connsiteX7" fmla="*/ 0 w 6275788"/>
                <a:gd name="connsiteY7" fmla="*/ 279893 h 1119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75788" h="1119572">
                  <a:moveTo>
                    <a:pt x="0" y="279893"/>
                  </a:moveTo>
                  <a:lnTo>
                    <a:pt x="5716002" y="279893"/>
                  </a:lnTo>
                  <a:lnTo>
                    <a:pt x="5716002" y="0"/>
                  </a:lnTo>
                  <a:lnTo>
                    <a:pt x="6275788" y="559786"/>
                  </a:lnTo>
                  <a:lnTo>
                    <a:pt x="5716002" y="1119572"/>
                  </a:lnTo>
                  <a:lnTo>
                    <a:pt x="5716002" y="839679"/>
                  </a:lnTo>
                  <a:lnTo>
                    <a:pt x="0" y="839679"/>
                  </a:lnTo>
                  <a:lnTo>
                    <a:pt x="0" y="2798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1920" tIns="401813" rIns="533893" bIns="457625" numCol="1" spcCol="1270" anchor="ctr" anchorCtr="0">
              <a:noAutofit/>
            </a:bodyPr>
            <a:lstStyle/>
            <a:p>
              <a:pPr lvl="0" algn="l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3200" kern="1200" dirty="0" smtClean="0"/>
                <a:t>2. Review</a:t>
              </a:r>
              <a:endParaRPr lang="en-US" sz="3200" kern="1200" dirty="0"/>
            </a:p>
          </p:txBody>
        </p:sp>
        <p:sp>
          <p:nvSpPr>
            <p:cNvPr id="9" name="Freeform 8"/>
            <p:cNvSpPr/>
            <p:nvPr/>
          </p:nvSpPr>
          <p:spPr>
            <a:xfrm>
              <a:off x="3669443" y="2892941"/>
              <a:ext cx="1430102" cy="2280558"/>
            </a:xfrm>
            <a:custGeom>
              <a:avLst/>
              <a:gdLst>
                <a:gd name="connsiteX0" fmla="*/ 0 w 1422830"/>
                <a:gd name="connsiteY0" fmla="*/ 0 h 2055714"/>
                <a:gd name="connsiteX1" fmla="*/ 1422830 w 1422830"/>
                <a:gd name="connsiteY1" fmla="*/ 0 h 2055714"/>
                <a:gd name="connsiteX2" fmla="*/ 1422830 w 1422830"/>
                <a:gd name="connsiteY2" fmla="*/ 2055714 h 2055714"/>
                <a:gd name="connsiteX3" fmla="*/ 0 w 1422830"/>
                <a:gd name="connsiteY3" fmla="*/ 2055714 h 2055714"/>
                <a:gd name="connsiteX4" fmla="*/ 0 w 1422830"/>
                <a:gd name="connsiteY4" fmla="*/ 0 h 2055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2830" h="2055714">
                  <a:moveTo>
                    <a:pt x="0" y="0"/>
                  </a:moveTo>
                  <a:lnTo>
                    <a:pt x="1422830" y="0"/>
                  </a:lnTo>
                  <a:lnTo>
                    <a:pt x="1422830" y="2055714"/>
                  </a:lnTo>
                  <a:lnTo>
                    <a:pt x="0" y="2055714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8580" tIns="68580" rIns="68580" bIns="68580" numCol="1" spcCol="1270" anchor="t" anchorCtr="0">
              <a:noAutofit/>
            </a:bodyPr>
            <a:lstStyle/>
            <a:p>
              <a:pPr marL="165100" lvl="0" indent="-16510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sz="1800" kern="1200" dirty="0" smtClean="0"/>
                <a:t>All paper tools containing tester information examination data</a:t>
              </a:r>
              <a:endParaRPr lang="en-US" sz="1800" kern="1200" dirty="0"/>
            </a:p>
          </p:txBody>
        </p:sp>
        <p:sp>
          <p:nvSpPr>
            <p:cNvPr id="10" name="Freeform 9"/>
            <p:cNvSpPr/>
            <p:nvPr/>
          </p:nvSpPr>
          <p:spPr>
            <a:xfrm>
              <a:off x="5092120" y="2404370"/>
              <a:ext cx="4853112" cy="1119572"/>
            </a:xfrm>
            <a:custGeom>
              <a:avLst/>
              <a:gdLst>
                <a:gd name="connsiteX0" fmla="*/ 0 w 4853112"/>
                <a:gd name="connsiteY0" fmla="*/ 279893 h 1119572"/>
                <a:gd name="connsiteX1" fmla="*/ 4293326 w 4853112"/>
                <a:gd name="connsiteY1" fmla="*/ 279893 h 1119572"/>
                <a:gd name="connsiteX2" fmla="*/ 4293326 w 4853112"/>
                <a:gd name="connsiteY2" fmla="*/ 0 h 1119572"/>
                <a:gd name="connsiteX3" fmla="*/ 4853112 w 4853112"/>
                <a:gd name="connsiteY3" fmla="*/ 559786 h 1119572"/>
                <a:gd name="connsiteX4" fmla="*/ 4293326 w 4853112"/>
                <a:gd name="connsiteY4" fmla="*/ 1119572 h 1119572"/>
                <a:gd name="connsiteX5" fmla="*/ 4293326 w 4853112"/>
                <a:gd name="connsiteY5" fmla="*/ 839679 h 1119572"/>
                <a:gd name="connsiteX6" fmla="*/ 0 w 4853112"/>
                <a:gd name="connsiteY6" fmla="*/ 839679 h 1119572"/>
                <a:gd name="connsiteX7" fmla="*/ 0 w 4853112"/>
                <a:gd name="connsiteY7" fmla="*/ 279893 h 1119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53112" h="1119572">
                  <a:moveTo>
                    <a:pt x="0" y="279893"/>
                  </a:moveTo>
                  <a:lnTo>
                    <a:pt x="4293326" y="279893"/>
                  </a:lnTo>
                  <a:lnTo>
                    <a:pt x="4293326" y="0"/>
                  </a:lnTo>
                  <a:lnTo>
                    <a:pt x="4853112" y="559786"/>
                  </a:lnTo>
                  <a:lnTo>
                    <a:pt x="4293326" y="1119572"/>
                  </a:lnTo>
                  <a:lnTo>
                    <a:pt x="4293326" y="839679"/>
                  </a:lnTo>
                  <a:lnTo>
                    <a:pt x="0" y="839679"/>
                  </a:lnTo>
                  <a:lnTo>
                    <a:pt x="0" y="2798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1920" tIns="401813" rIns="533893" bIns="457625" numCol="1" spcCol="1270" anchor="ctr" anchorCtr="0">
              <a:noAutofit/>
            </a:bodyPr>
            <a:lstStyle/>
            <a:p>
              <a:pPr lvl="0" algn="l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3200" kern="1200" dirty="0" smtClean="0"/>
                <a:t>3. Transport</a:t>
              </a:r>
              <a:endParaRPr lang="en-US" sz="3200" kern="1200" dirty="0"/>
            </a:p>
          </p:txBody>
        </p:sp>
        <p:sp>
          <p:nvSpPr>
            <p:cNvPr id="11" name="Freeform 10"/>
            <p:cNvSpPr/>
            <p:nvPr/>
          </p:nvSpPr>
          <p:spPr>
            <a:xfrm>
              <a:off x="5092120" y="3266276"/>
              <a:ext cx="1430102" cy="2250523"/>
            </a:xfrm>
            <a:custGeom>
              <a:avLst/>
              <a:gdLst>
                <a:gd name="connsiteX0" fmla="*/ 0 w 1422830"/>
                <a:gd name="connsiteY0" fmla="*/ 0 h 2055714"/>
                <a:gd name="connsiteX1" fmla="*/ 1422830 w 1422830"/>
                <a:gd name="connsiteY1" fmla="*/ 0 h 2055714"/>
                <a:gd name="connsiteX2" fmla="*/ 1422830 w 1422830"/>
                <a:gd name="connsiteY2" fmla="*/ 2055714 h 2055714"/>
                <a:gd name="connsiteX3" fmla="*/ 0 w 1422830"/>
                <a:gd name="connsiteY3" fmla="*/ 2055714 h 2055714"/>
                <a:gd name="connsiteX4" fmla="*/ 0 w 1422830"/>
                <a:gd name="connsiteY4" fmla="*/ 0 h 2055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2830" h="2055714">
                  <a:moveTo>
                    <a:pt x="0" y="0"/>
                  </a:moveTo>
                  <a:lnTo>
                    <a:pt x="1422830" y="0"/>
                  </a:lnTo>
                  <a:lnTo>
                    <a:pt x="1422830" y="2055714"/>
                  </a:lnTo>
                  <a:lnTo>
                    <a:pt x="0" y="2055714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8580" tIns="68580" rIns="68580" bIns="68580" numCol="1" spcCol="1270" anchor="t" anchorCtr="0">
              <a:noAutofit/>
            </a:bodyPr>
            <a:lstStyle/>
            <a:p>
              <a:pPr marL="165100" lvl="0" indent="-16510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sz="1800" kern="1200" dirty="0" smtClean="0"/>
                <a:t>Written examination questions + answer key</a:t>
              </a:r>
              <a:endParaRPr lang="en-US" sz="1800" kern="1200" dirty="0"/>
            </a:p>
            <a:p>
              <a:pPr marL="165100" lvl="0" indent="-16510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sz="1800" kern="1200" dirty="0" smtClean="0"/>
                <a:t>All paper tools containing tester information examination data</a:t>
              </a:r>
              <a:endParaRPr lang="en-US" sz="1800" kern="1200" dirty="0"/>
            </a:p>
          </p:txBody>
        </p:sp>
        <p:sp>
          <p:nvSpPr>
            <p:cNvPr id="12" name="Freeform 11"/>
            <p:cNvSpPr/>
            <p:nvPr/>
          </p:nvSpPr>
          <p:spPr>
            <a:xfrm>
              <a:off x="6515566" y="2777705"/>
              <a:ext cx="3429665" cy="1119572"/>
            </a:xfrm>
            <a:custGeom>
              <a:avLst/>
              <a:gdLst>
                <a:gd name="connsiteX0" fmla="*/ 0 w 3429665"/>
                <a:gd name="connsiteY0" fmla="*/ 279893 h 1119572"/>
                <a:gd name="connsiteX1" fmla="*/ 2869879 w 3429665"/>
                <a:gd name="connsiteY1" fmla="*/ 279893 h 1119572"/>
                <a:gd name="connsiteX2" fmla="*/ 2869879 w 3429665"/>
                <a:gd name="connsiteY2" fmla="*/ 0 h 1119572"/>
                <a:gd name="connsiteX3" fmla="*/ 3429665 w 3429665"/>
                <a:gd name="connsiteY3" fmla="*/ 559786 h 1119572"/>
                <a:gd name="connsiteX4" fmla="*/ 2869879 w 3429665"/>
                <a:gd name="connsiteY4" fmla="*/ 1119572 h 1119572"/>
                <a:gd name="connsiteX5" fmla="*/ 2869879 w 3429665"/>
                <a:gd name="connsiteY5" fmla="*/ 839679 h 1119572"/>
                <a:gd name="connsiteX6" fmla="*/ 0 w 3429665"/>
                <a:gd name="connsiteY6" fmla="*/ 839679 h 1119572"/>
                <a:gd name="connsiteX7" fmla="*/ 0 w 3429665"/>
                <a:gd name="connsiteY7" fmla="*/ 279893 h 1119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29665" h="1119572">
                  <a:moveTo>
                    <a:pt x="0" y="279893"/>
                  </a:moveTo>
                  <a:lnTo>
                    <a:pt x="2869879" y="279893"/>
                  </a:lnTo>
                  <a:lnTo>
                    <a:pt x="2869879" y="0"/>
                  </a:lnTo>
                  <a:lnTo>
                    <a:pt x="3429665" y="559786"/>
                  </a:lnTo>
                  <a:lnTo>
                    <a:pt x="2869879" y="1119572"/>
                  </a:lnTo>
                  <a:lnTo>
                    <a:pt x="2869879" y="839679"/>
                  </a:lnTo>
                  <a:lnTo>
                    <a:pt x="0" y="839679"/>
                  </a:lnTo>
                  <a:lnTo>
                    <a:pt x="0" y="2798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1920" tIns="401813" rIns="533893" bIns="457625" numCol="1" spcCol="1270" anchor="ctr" anchorCtr="0">
              <a:noAutofit/>
            </a:bodyPr>
            <a:lstStyle/>
            <a:p>
              <a:pPr lvl="0" algn="l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3200" kern="1200" dirty="0" smtClean="0"/>
                <a:t>4</a:t>
              </a:r>
              <a:r>
                <a:rPr lang="en-US" sz="3200" kern="1200" smtClean="0"/>
                <a:t>. Check</a:t>
              </a:r>
              <a:endParaRPr lang="en-US" sz="3200" kern="1200" dirty="0"/>
            </a:p>
          </p:txBody>
        </p:sp>
        <p:sp>
          <p:nvSpPr>
            <p:cNvPr id="13" name="Freeform 12"/>
            <p:cNvSpPr/>
            <p:nvPr/>
          </p:nvSpPr>
          <p:spPr>
            <a:xfrm>
              <a:off x="6515566" y="3639612"/>
              <a:ext cx="1430102" cy="2365475"/>
            </a:xfrm>
            <a:custGeom>
              <a:avLst/>
              <a:gdLst>
                <a:gd name="connsiteX0" fmla="*/ 0 w 1422830"/>
                <a:gd name="connsiteY0" fmla="*/ 0 h 2055714"/>
                <a:gd name="connsiteX1" fmla="*/ 1422830 w 1422830"/>
                <a:gd name="connsiteY1" fmla="*/ 0 h 2055714"/>
                <a:gd name="connsiteX2" fmla="*/ 1422830 w 1422830"/>
                <a:gd name="connsiteY2" fmla="*/ 2055714 h 2055714"/>
                <a:gd name="connsiteX3" fmla="*/ 0 w 1422830"/>
                <a:gd name="connsiteY3" fmla="*/ 2055714 h 2055714"/>
                <a:gd name="connsiteX4" fmla="*/ 0 w 1422830"/>
                <a:gd name="connsiteY4" fmla="*/ 0 h 2055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2830" h="2055714">
                  <a:moveTo>
                    <a:pt x="0" y="0"/>
                  </a:moveTo>
                  <a:lnTo>
                    <a:pt x="1422830" y="0"/>
                  </a:lnTo>
                  <a:lnTo>
                    <a:pt x="1422830" y="2055714"/>
                  </a:lnTo>
                  <a:lnTo>
                    <a:pt x="0" y="2055714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0960" tIns="60960" rIns="60960" bIns="60960" numCol="1" spcCol="1270" anchor="t" anchorCtr="0">
              <a:noAutofit/>
            </a:bodyPr>
            <a:lstStyle/>
            <a:p>
              <a:pPr marL="120650" lvl="0" indent="-1206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kern="1200" dirty="0" smtClean="0"/>
                <a:t>All paper tools containing tester information examination data</a:t>
              </a:r>
            </a:p>
            <a:p>
              <a:pPr marL="120650" lvl="0" indent="-1206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endParaRPr lang="en-US" kern="1200" dirty="0"/>
            </a:p>
            <a:p>
              <a:pPr marL="120650" lvl="0" indent="-1206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kern="1200" dirty="0" smtClean="0"/>
                <a:t>Completeness and accuracy</a:t>
              </a:r>
              <a:endParaRPr lang="en-US" kern="1200" dirty="0"/>
            </a:p>
          </p:txBody>
        </p:sp>
        <p:sp>
          <p:nvSpPr>
            <p:cNvPr id="14" name="Freeform 13"/>
            <p:cNvSpPr/>
            <p:nvPr/>
          </p:nvSpPr>
          <p:spPr>
            <a:xfrm>
              <a:off x="7938242" y="3151040"/>
              <a:ext cx="2006989" cy="1119572"/>
            </a:xfrm>
            <a:custGeom>
              <a:avLst/>
              <a:gdLst>
                <a:gd name="connsiteX0" fmla="*/ 0 w 2006989"/>
                <a:gd name="connsiteY0" fmla="*/ 279893 h 1119572"/>
                <a:gd name="connsiteX1" fmla="*/ 1447203 w 2006989"/>
                <a:gd name="connsiteY1" fmla="*/ 279893 h 1119572"/>
                <a:gd name="connsiteX2" fmla="*/ 1447203 w 2006989"/>
                <a:gd name="connsiteY2" fmla="*/ 0 h 1119572"/>
                <a:gd name="connsiteX3" fmla="*/ 2006989 w 2006989"/>
                <a:gd name="connsiteY3" fmla="*/ 559786 h 1119572"/>
                <a:gd name="connsiteX4" fmla="*/ 1447203 w 2006989"/>
                <a:gd name="connsiteY4" fmla="*/ 1119572 h 1119572"/>
                <a:gd name="connsiteX5" fmla="*/ 1447203 w 2006989"/>
                <a:gd name="connsiteY5" fmla="*/ 839679 h 1119572"/>
                <a:gd name="connsiteX6" fmla="*/ 0 w 2006989"/>
                <a:gd name="connsiteY6" fmla="*/ 839679 h 1119572"/>
                <a:gd name="connsiteX7" fmla="*/ 0 w 2006989"/>
                <a:gd name="connsiteY7" fmla="*/ 279893 h 1119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06989" h="1119572">
                  <a:moveTo>
                    <a:pt x="0" y="279893"/>
                  </a:moveTo>
                  <a:lnTo>
                    <a:pt x="1447203" y="279893"/>
                  </a:lnTo>
                  <a:lnTo>
                    <a:pt x="1447203" y="0"/>
                  </a:lnTo>
                  <a:lnTo>
                    <a:pt x="2006989" y="559786"/>
                  </a:lnTo>
                  <a:lnTo>
                    <a:pt x="1447203" y="1119572"/>
                  </a:lnTo>
                  <a:lnTo>
                    <a:pt x="1447203" y="839679"/>
                  </a:lnTo>
                  <a:lnTo>
                    <a:pt x="0" y="839679"/>
                  </a:lnTo>
                  <a:lnTo>
                    <a:pt x="0" y="2798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1920" tIns="401813" rIns="533893" bIns="457625" numCol="1" spcCol="1270" anchor="ctr" anchorCtr="0">
              <a:noAutofit/>
            </a:bodyPr>
            <a:lstStyle/>
            <a:p>
              <a:pPr lvl="0" algn="l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3200" kern="1200" dirty="0" smtClean="0"/>
                <a:t>5. Transfer</a:t>
              </a:r>
              <a:endParaRPr lang="en-US" sz="3200" kern="1200" dirty="0"/>
            </a:p>
          </p:txBody>
        </p:sp>
        <p:sp>
          <p:nvSpPr>
            <p:cNvPr id="15" name="Freeform 14"/>
            <p:cNvSpPr/>
            <p:nvPr/>
          </p:nvSpPr>
          <p:spPr>
            <a:xfrm>
              <a:off x="7938242" y="4012946"/>
              <a:ext cx="1430102" cy="2265510"/>
            </a:xfrm>
            <a:custGeom>
              <a:avLst/>
              <a:gdLst>
                <a:gd name="connsiteX0" fmla="*/ 0 w 1422830"/>
                <a:gd name="connsiteY0" fmla="*/ 0 h 2055714"/>
                <a:gd name="connsiteX1" fmla="*/ 1422830 w 1422830"/>
                <a:gd name="connsiteY1" fmla="*/ 0 h 2055714"/>
                <a:gd name="connsiteX2" fmla="*/ 1422830 w 1422830"/>
                <a:gd name="connsiteY2" fmla="*/ 2055714 h 2055714"/>
                <a:gd name="connsiteX3" fmla="*/ 0 w 1422830"/>
                <a:gd name="connsiteY3" fmla="*/ 2055714 h 2055714"/>
                <a:gd name="connsiteX4" fmla="*/ 0 w 1422830"/>
                <a:gd name="connsiteY4" fmla="*/ 0 h 2055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2830" h="2055714">
                  <a:moveTo>
                    <a:pt x="0" y="0"/>
                  </a:moveTo>
                  <a:lnTo>
                    <a:pt x="1422830" y="0"/>
                  </a:lnTo>
                  <a:lnTo>
                    <a:pt x="1422830" y="2055714"/>
                  </a:lnTo>
                  <a:lnTo>
                    <a:pt x="0" y="2055714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8580" tIns="68580" rIns="68580" bIns="68580" numCol="1" spcCol="1270" anchor="t" anchorCtr="0">
              <a:noAutofit/>
            </a:bodyPr>
            <a:lstStyle/>
            <a:p>
              <a:pPr marL="165100" lvl="0" indent="-16510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sz="1800" kern="1200" dirty="0" smtClean="0"/>
                <a:t>At regional level: Transfer Into database all paper based data collected</a:t>
              </a:r>
            </a:p>
            <a:p>
              <a:pPr lvl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kern="1200" dirty="0" smtClean="0"/>
                <a:t> </a:t>
              </a:r>
            </a:p>
            <a:p>
              <a:pPr marL="165100" lvl="0" indent="-16510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sz="1800" kern="1200" dirty="0" smtClean="0"/>
                <a:t>To Council: Transfer all electronic data captured every month</a:t>
              </a:r>
              <a:endParaRPr lang="en-US" sz="18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7340066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ertification Data Management Too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55230"/>
            <a:ext cx="10972800" cy="5130383"/>
          </a:xfrm>
        </p:spPr>
        <p:txBody>
          <a:bodyPr>
            <a:normAutofit fontScale="92500" lnSpcReduction="20000"/>
          </a:bodyPr>
          <a:lstStyle/>
          <a:p>
            <a:r>
              <a:rPr lang="en-US" dirty="0" smtClean="0"/>
              <a:t>Purpose: Design to management certification data for documentation, monitoring and evaluation purpose</a:t>
            </a:r>
          </a:p>
          <a:p>
            <a:pPr marL="0" indent="0">
              <a:buNone/>
            </a:pPr>
            <a:endParaRPr lang="en-US" dirty="0" smtClean="0"/>
          </a:p>
          <a:p>
            <a:r>
              <a:rPr lang="en-US" dirty="0" smtClean="0"/>
              <a:t>Contains four worksheets</a:t>
            </a:r>
          </a:p>
          <a:p>
            <a:pPr lvl="1"/>
            <a:r>
              <a:rPr lang="en-US" dirty="0" smtClean="0"/>
              <a:t>Instructions </a:t>
            </a:r>
          </a:p>
          <a:p>
            <a:pPr lvl="1"/>
            <a:r>
              <a:rPr lang="en-US" dirty="0" smtClean="0"/>
              <a:t>Tester Demographic information</a:t>
            </a:r>
            <a:endParaRPr lang="en-US" dirty="0"/>
          </a:p>
          <a:p>
            <a:pPr lvl="1"/>
            <a:r>
              <a:rPr lang="en-US" dirty="0" smtClean="0"/>
              <a:t>Tester Training information</a:t>
            </a:r>
          </a:p>
          <a:p>
            <a:pPr lvl="1"/>
            <a:r>
              <a:rPr lang="en-US" dirty="0" smtClean="0"/>
              <a:t>Tester Competency and Certification information</a:t>
            </a:r>
          </a:p>
          <a:p>
            <a:pPr marL="457200" lvl="1" indent="0">
              <a:buNone/>
            </a:pPr>
            <a:endParaRPr lang="en-US" dirty="0" smtClean="0"/>
          </a:p>
          <a:p>
            <a:r>
              <a:rPr lang="en-US" dirty="0" smtClean="0"/>
              <a:t>User</a:t>
            </a:r>
          </a:p>
          <a:p>
            <a:pPr lvl="1"/>
            <a:r>
              <a:rPr lang="en-US" dirty="0" smtClean="0"/>
              <a:t>Regional: Evaluator, data clerk</a:t>
            </a:r>
          </a:p>
          <a:p>
            <a:pPr lvl="1"/>
            <a:r>
              <a:rPr lang="en-US" dirty="0" smtClean="0"/>
              <a:t>National/Council: Registrar, data cle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72423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 1. Instructions 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26468" t="20556" r="46270" b="4135"/>
          <a:stretch/>
        </p:blipFill>
        <p:spPr>
          <a:xfrm>
            <a:off x="1933301" y="1379584"/>
            <a:ext cx="8961121" cy="547841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320044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 2. Tester Demographic Information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-24917" t="14416" r="43213" b="6463"/>
          <a:stretch/>
        </p:blipFill>
        <p:spPr>
          <a:xfrm>
            <a:off x="-3540578" y="1512277"/>
            <a:ext cx="15229955" cy="5266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1059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1</TotalTime>
  <Words>399</Words>
  <Application>Microsoft Office PowerPoint</Application>
  <PresentationFormat>Widescreen</PresentationFormat>
  <Paragraphs>97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Arial</vt:lpstr>
      <vt:lpstr>Calibri</vt:lpstr>
      <vt:lpstr>Garamond</vt:lpstr>
      <vt:lpstr>Verdana</vt:lpstr>
      <vt:lpstr>Wingdings</vt:lpstr>
      <vt:lpstr>1_Office Theme</vt:lpstr>
      <vt:lpstr>think-cell Folie</vt:lpstr>
      <vt:lpstr>Managing HIV Tester Certification Data</vt:lpstr>
      <vt:lpstr>Learning Objectives</vt:lpstr>
      <vt:lpstr>Module Contents</vt:lpstr>
      <vt:lpstr>Type of Certification Data </vt:lpstr>
      <vt:lpstr>Key Data Management Areas</vt:lpstr>
      <vt:lpstr>Managing the Certification Data</vt:lpstr>
      <vt:lpstr>Certification Data Management Tool</vt:lpstr>
      <vt:lpstr>Tab 1. Instructions </vt:lpstr>
      <vt:lpstr>Tab 2. Tester Demographic Information</vt:lpstr>
      <vt:lpstr>Tab 3. Tester Training Information </vt:lpstr>
      <vt:lpstr>Tab 4. Tester Competency Assessment and Certification Information</vt:lpstr>
      <vt:lpstr>Summary</vt:lpstr>
    </vt:vector>
  </TitlesOfParts>
  <Company>Centers for Disease Control and Preven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naging Tester Certification Database</dc:title>
  <dc:creator>Kalou, Mireille B. (CDC/CGH/DGHT)</dc:creator>
  <cp:lastModifiedBy>Jackson, Keisha G. (CDC/CGH/DGHT)</cp:lastModifiedBy>
  <cp:revision>10</cp:revision>
  <dcterms:created xsi:type="dcterms:W3CDTF">2017-05-02T22:01:59Z</dcterms:created>
  <dcterms:modified xsi:type="dcterms:W3CDTF">2018-05-23T15:53:13Z</dcterms:modified>
</cp:coreProperties>
</file>